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7"/>
  </p:handoutMasterIdLst>
  <p:sldIdLst>
    <p:sldId id="266" r:id="rId2"/>
    <p:sldId id="262" r:id="rId3"/>
    <p:sldId id="263" r:id="rId4"/>
    <p:sldId id="264" r:id="rId5"/>
    <p:sldId id="265" r:id="rId6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40"/>
    <p:restoredTop sz="94599"/>
  </p:normalViewPr>
  <p:slideViewPr>
    <p:cSldViewPr snapToGrid="0" showGuides="1">
      <p:cViewPr varScale="1">
        <p:scale>
          <a:sx n="124" d="100"/>
          <a:sy n="124" d="100"/>
        </p:scale>
        <p:origin x="1192" y="18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3/02/2018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2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23/02/2018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gif"/><Relationship Id="rId4" Type="http://schemas.openxmlformats.org/officeDocument/2006/relationships/image" Target="../media/image6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A793C-40BE-F344-A0C5-04B2A5AB6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BC6210-52AB-2A49-9BB4-07D2712D9A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oal: Finding hyperplane that can provide highest sepa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ain problem: not linearly separ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olution 1: Increase complexity </a:t>
            </a:r>
            <a:r>
              <a:rPr lang="en-US" dirty="0">
                <a:sym typeface="Wingdings" pitchFamily="2" charset="2"/>
              </a:rPr>
              <a:t> higher computation resource need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Solution 2: Use kernel (dot product of original spac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2919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Classifications</a:t>
            </a:r>
            <a:endParaRPr lang="sv-S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16E3376-2958-9F40-A24E-73960379E4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71" y="1539504"/>
            <a:ext cx="3404259" cy="22695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7051B9-3690-D242-BFA8-D3C632C8B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330" y="1484085"/>
            <a:ext cx="3570514" cy="23803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2153B1B-9415-6741-A697-782B2A9F6D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709" y="3896096"/>
            <a:ext cx="3416135" cy="22774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8D61673-9FBC-E04E-9973-0A015CC54C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71" y="3896096"/>
            <a:ext cx="3451761" cy="230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615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CC929-7342-054F-9921-EF01F4283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s of Non-Linear Kern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800D12-5118-7E45-9781-72CB5394D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ameter P in Polynomial:</a:t>
            </a:r>
          </a:p>
          <a:p>
            <a:pPr marL="698500" lvl="1" indent="-342900"/>
            <a:r>
              <a:rPr lang="en-US" dirty="0"/>
              <a:t>Increase Complexity of the curve</a:t>
            </a:r>
          </a:p>
          <a:p>
            <a:pPr marL="698500" lvl="1" indent="-342900"/>
            <a:r>
              <a:rPr lang="en-US" dirty="0"/>
              <a:t>Smaller bias</a:t>
            </a:r>
          </a:p>
          <a:p>
            <a:pPr marL="698500" lvl="1" indent="-342900"/>
            <a:r>
              <a:rPr lang="en-US" dirty="0"/>
              <a:t>Higher Vari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ameter Omega in RBF:</a:t>
            </a:r>
          </a:p>
          <a:p>
            <a:pPr marL="698500" lvl="1" indent="-342900"/>
            <a:r>
              <a:rPr lang="en-US" dirty="0"/>
              <a:t>Increase Smoothness of the curve</a:t>
            </a:r>
          </a:p>
          <a:p>
            <a:pPr marL="698500" lvl="1" indent="-342900"/>
            <a:r>
              <a:rPr lang="en-US" dirty="0"/>
              <a:t>Smaller Variance</a:t>
            </a:r>
          </a:p>
          <a:p>
            <a:pPr marL="698500" lvl="1" indent="-342900"/>
            <a:r>
              <a:rPr lang="en-US" dirty="0"/>
              <a:t>Higher Bias</a:t>
            </a:r>
          </a:p>
        </p:txBody>
      </p:sp>
    </p:spTree>
    <p:extLst>
      <p:ext uri="{BB962C8B-B14F-4D97-AF65-F5344CB8AC3E}">
        <p14:creationId xmlns:p14="http://schemas.microsoft.com/office/powerpoint/2010/main" val="1743473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E0BC9-82E6-124B-8C55-D12A810AE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ack Parame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0E2C7C-034F-FA45-8B50-9F52D45441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adjust tolerance about error (misclassificatio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dding slack:</a:t>
            </a:r>
          </a:p>
          <a:p>
            <a:pPr marL="698500" lvl="1" indent="-342900"/>
            <a:r>
              <a:rPr lang="en-US" dirty="0"/>
              <a:t>Less complex</a:t>
            </a:r>
          </a:p>
          <a:p>
            <a:pPr marL="698500" lvl="1" indent="-342900"/>
            <a:r>
              <a:rPr lang="en-US" dirty="0"/>
              <a:t>Reducing Variance</a:t>
            </a:r>
          </a:p>
          <a:p>
            <a:pPr marL="698500" lvl="1" indent="-342900"/>
            <a:r>
              <a:rPr lang="en-US" dirty="0"/>
              <a:t>Classification Error</a:t>
            </a:r>
          </a:p>
          <a:p>
            <a:pPr marL="698500" lvl="1" indent="-342900"/>
            <a:r>
              <a:rPr lang="en-US" dirty="0"/>
              <a:t>Increasing Bias</a:t>
            </a:r>
          </a:p>
          <a:p>
            <a:pPr marL="698500" lvl="1" indent="-3429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2200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C7F818-C45E-5749-92EC-96731EA43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ack vs Kernel Complex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7C80C-1EA7-FD48-A336-4E3AFE66A6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en Variance of the data is high and slight error (noise) can be excused, we should choose to add slack instead of complexity of the kern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en data is not easily separated (not just because of noise), more complex kernel should be considered</a:t>
            </a:r>
          </a:p>
        </p:txBody>
      </p:sp>
    </p:spTree>
    <p:extLst>
      <p:ext uri="{BB962C8B-B14F-4D97-AF65-F5344CB8AC3E}">
        <p14:creationId xmlns:p14="http://schemas.microsoft.com/office/powerpoint/2010/main" val="10431709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KTH_with colours and grafs</Template>
  <TotalTime>73</TotalTime>
  <Words>144</Words>
  <Application>Microsoft Macintosh PowerPoint</Application>
  <PresentationFormat>On-screen Show (4:3)</PresentationFormat>
  <Paragraphs>25</Paragraphs>
  <Slides>5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Template_KTH_with colours and grafs</vt:lpstr>
      <vt:lpstr>think-cell Slide</vt:lpstr>
      <vt:lpstr>SVM</vt:lpstr>
      <vt:lpstr>Classifications</vt:lpstr>
      <vt:lpstr>Parameters of Non-Linear Kernels</vt:lpstr>
      <vt:lpstr>Slack Parameter</vt:lpstr>
      <vt:lpstr>Slack vs Kernel Complexity</vt:lpstr>
    </vt:vector>
  </TitlesOfParts>
  <Company/>
  <LinksUpToDate>false</LinksUpToDate>
  <SharedDoc>false</SharedDoc>
  <HyperlinksChanged>false</HyperlinksChanged>
  <AppVersion>16.001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hammad Arif</dc:creator>
  <cp:lastModifiedBy>Muhammad Arif</cp:lastModifiedBy>
  <cp:revision>7</cp:revision>
  <cp:lastPrinted>2013-05-27T09:10:21Z</cp:lastPrinted>
  <dcterms:created xsi:type="dcterms:W3CDTF">2018-02-22T11:29:01Z</dcterms:created>
  <dcterms:modified xsi:type="dcterms:W3CDTF">2018-02-23T08:38:27Z</dcterms:modified>
</cp:coreProperties>
</file>